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4"/>
  </p:notesMasterIdLst>
  <p:sldIdLst>
    <p:sldId id="300" r:id="rId3"/>
    <p:sldId id="289" r:id="rId4"/>
    <p:sldId id="299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94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32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endParaRPr lang="en-US" altLang="zh-CN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（展厅活动，试驾活动，售后活动，交车仪式，易手车活动，新车发布等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sz="1507" dirty="0" smtClean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-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9" b="14440"/>
          <a:stretch/>
        </p:blipFill>
        <p:spPr>
          <a:xfrm>
            <a:off x="290832" y="1205419"/>
            <a:ext cx="11654119" cy="41078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33347" y="5313270"/>
            <a:ext cx="3395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封面图片可以自行更换车辆美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Hospitalit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礼仪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有其他项目申请特殊定制，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相关素材及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礼仪照片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1804723"/>
              </p:ext>
            </p:extLst>
          </p:nvPr>
        </p:nvGraphicFramePr>
        <p:xfrm>
          <a:off x="587141" y="1234463"/>
          <a:ext cx="11032602" cy="4516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607">
                  <a:extLst>
                    <a:ext uri="{9D8B030D-6E8A-4147-A177-3AD203B41FA5}">
                      <a16:colId xmlns:a16="http://schemas.microsoft.com/office/drawing/2014/main" val="3496894346"/>
                    </a:ext>
                  </a:extLst>
                </a:gridCol>
                <a:gridCol w="2282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3694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nten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esponsibl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负责人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60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222015"/>
              </p:ext>
            </p:extLst>
          </p:nvPr>
        </p:nvGraphicFramePr>
        <p:xfrm>
          <a:off x="539749" y="1107029"/>
          <a:ext cx="11079991" cy="3442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36000" marR="0" marT="54261" marB="54261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797630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hicl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辆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Usage  (Static/Test drive)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用途（静态展示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试驾）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型号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</a:p>
                    <a:p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数量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8575428"/>
              </p:ext>
            </p:extLst>
          </p:nvPr>
        </p:nvGraphicFramePr>
        <p:xfrm>
          <a:off x="587372" y="4732273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389655"/>
              </p:ext>
            </p:extLst>
          </p:nvPr>
        </p:nvGraphicFramePr>
        <p:xfrm>
          <a:off x="404261" y="1162112"/>
          <a:ext cx="11473313" cy="50652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4780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54780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5876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99883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68445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634194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34134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42636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925692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944643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formance 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C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685792">
                        <a:buFontTx/>
                        <a:buNone/>
                      </a:pPr>
                      <a:r>
                        <a:rPr lang="en-US" altLang="zh-CN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ospitality</a:t>
                      </a:r>
                    </a:p>
                    <a:p>
                      <a:pPr marL="0" indent="0" algn="l" defTabSz="685792">
                        <a:buFontTx/>
                        <a:buNone/>
                      </a:pPr>
                      <a:r>
                        <a:rPr lang="zh-CN" altLang="en-US" sz="1200" b="0" spc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数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均价格</a:t>
                      </a: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176443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47269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187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LIYOU</a:t>
            </a:r>
            <a:endParaRPr lang="zh-CN" altLang="en-US" sz="1187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728184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1512" y="1123920"/>
            <a:ext cx="548413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Site plan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使用计划 （平面图等）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36067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661020"/>
            <a:ext cx="11061479" cy="50376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algn="l"/>
            <a:endParaRPr lang="zh-CN" altLang="en-US" sz="1187" dirty="0"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9782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58264" y="1126740"/>
            <a:ext cx="11081395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endParaRPr lang="en-US" altLang="zh-CN" sz="1400" b="1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活动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主视觉或背板</a:t>
            </a: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erformance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表演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计划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erformance concept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方案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502</Words>
  <Application>Microsoft Office PowerPoint</Application>
  <PresentationFormat>宽屏</PresentationFormat>
  <Paragraphs>148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53</cp:revision>
  <dcterms:created xsi:type="dcterms:W3CDTF">2022-02-15T07:41:51Z</dcterms:created>
  <dcterms:modified xsi:type="dcterms:W3CDTF">2022-04-16T09:42:55Z</dcterms:modified>
</cp:coreProperties>
</file>